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2" r:id="rId4"/>
    <p:sldId id="2214" r:id="rId5"/>
    <p:sldId id="2221" r:id="rId6"/>
    <p:sldId id="2177" r:id="rId7"/>
    <p:sldId id="2215" r:id="rId8"/>
    <p:sldId id="2224" r:id="rId9"/>
    <p:sldId id="2225" r:id="rId10"/>
    <p:sldId id="2226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92" autoAdjust="0"/>
    <p:restoredTop sz="93506" autoAdjust="0"/>
  </p:normalViewPr>
  <p:slideViewPr>
    <p:cSldViewPr snapToObjects="1">
      <p:cViewPr>
        <p:scale>
          <a:sx n="110" d="100"/>
          <a:sy n="110" d="100"/>
        </p:scale>
        <p:origin x="-948" y="-54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1.jpeg"/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11" Type="http://schemas.openxmlformats.org/officeDocument/2006/relationships/oleObject" Target="../embeddings/oleObject3.bin"/><Relationship Id="rId5" Type="http://schemas.openxmlformats.org/officeDocument/2006/relationships/image" Target="../media/image6.png"/><Relationship Id="rId15" Type="http://schemas.openxmlformats.org/officeDocument/2006/relationships/image" Target="../media/image12.png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oleObject" Target="../embeddings/oleObject2.bin"/><Relationship Id="rId1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</a:t>
            </a:r>
            <a:r>
              <a:rPr lang="en-US" altLang="ko-KR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K C&amp;C </a:t>
            </a:r>
            <a:r>
              <a:rPr lang="en-US" altLang="ko-KR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MIS(</a:t>
            </a:r>
            <a:r>
              <a:rPr lang="ko-KR" altLang="en-US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사업관리</a:t>
            </a:r>
            <a:r>
              <a:rPr lang="en-US" altLang="ko-KR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smtClean="0">
                <a:latin typeface="맑은 고딕" pitchFamily="50" charset="-127"/>
                <a:ea typeface="맑은 고딕" pitchFamily="50" charset="-127"/>
              </a:rPr>
              <a:t>2015.4</a:t>
            </a:r>
            <a:endParaRPr lang="en-US" altLang="ko-KR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0" name="직사각형 159"/>
          <p:cNvSpPr/>
          <p:nvPr/>
        </p:nvSpPr>
        <p:spPr bwMode="auto">
          <a:xfrm>
            <a:off x="3704549" y="2167886"/>
            <a:ext cx="2978190" cy="4429466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1" name="직사각형 160"/>
          <p:cNvSpPr/>
          <p:nvPr/>
        </p:nvSpPr>
        <p:spPr bwMode="auto">
          <a:xfrm>
            <a:off x="3676950" y="1033096"/>
            <a:ext cx="3005789" cy="73972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180000"/>
          <a:lstStyle/>
          <a:p>
            <a:pPr eaLnBrk="0" latinLnBrk="0" hangingPunct="0">
              <a:lnSpc>
                <a:spcPts val="12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kumimoji="0" lang="en-US" altLang="ko-KR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2" name="슬라이드 번호 개체 틀 4"/>
          <p:cNvSpPr txBox="1">
            <a:spLocks/>
          </p:cNvSpPr>
          <p:nvPr/>
        </p:nvSpPr>
        <p:spPr bwMode="auto">
          <a:xfrm>
            <a:off x="4761653" y="1397096"/>
            <a:ext cx="1436655" cy="4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SK-Net </a:t>
            </a:r>
            <a:r>
              <a:rPr lang="ko-KR" altLang="en-US" sz="1000" dirty="0" smtClean="0">
                <a:solidFill>
                  <a:srgbClr val="000000"/>
                </a:solidFill>
              </a:rPr>
              <a:t>관문 </a:t>
            </a:r>
            <a:r>
              <a:rPr lang="ko-KR" altLang="en-US" sz="1000" dirty="0" err="1" smtClean="0">
                <a:solidFill>
                  <a:srgbClr val="000000"/>
                </a:solidFill>
              </a:rPr>
              <a:t>라우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63" name="직사각형 162"/>
          <p:cNvSpPr>
            <a:spLocks noChangeArrowheads="1"/>
          </p:cNvSpPr>
          <p:nvPr/>
        </p:nvSpPr>
        <p:spPr bwMode="auto">
          <a:xfrm>
            <a:off x="4136603" y="3379748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pic>
        <p:nvPicPr>
          <p:cNvPr id="165" name="Picture 107" descr="3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887" y="2390293"/>
            <a:ext cx="417141" cy="44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6" name="Picture 192" descr="RouterATMTagSw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2438" y="4495088"/>
            <a:ext cx="302498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7" name="슬라이드 번호 개체 틀 4"/>
          <p:cNvSpPr txBox="1">
            <a:spLocks/>
          </p:cNvSpPr>
          <p:nvPr/>
        </p:nvSpPr>
        <p:spPr bwMode="auto">
          <a:xfrm>
            <a:off x="4012237" y="3756564"/>
            <a:ext cx="846391" cy="58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sp>
        <p:nvSpPr>
          <p:cNvPr id="169" name="직사각형 168"/>
          <p:cNvSpPr/>
          <p:nvPr/>
        </p:nvSpPr>
        <p:spPr>
          <a:xfrm>
            <a:off x="3699086" y="4283064"/>
            <a:ext cx="9858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인정보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lang="ko-KR" altLang="en-US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0" name="Oval 16"/>
          <p:cNvSpPr>
            <a:spLocks noChangeArrowheads="1"/>
          </p:cNvSpPr>
          <p:nvPr/>
        </p:nvSpPr>
        <p:spPr bwMode="auto">
          <a:xfrm>
            <a:off x="3879299" y="5374261"/>
            <a:ext cx="723301" cy="358371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171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2185" y="5310010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223" y="5374886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" name="직사각형 173"/>
          <p:cNvSpPr/>
          <p:nvPr/>
        </p:nvSpPr>
        <p:spPr>
          <a:xfrm>
            <a:off x="3730127" y="5705683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인정보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BMS</a:t>
            </a:r>
          </a:p>
          <a:p>
            <a:pPr lvl="0"/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인사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/OMS </a:t>
            </a:r>
            <a:r>
              <a:rPr lang="ko-KR" altLang="en-US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등</a:t>
            </a: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ko-KR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75" name="Picture 192" descr="RouterATMTagSw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6320" y="4604537"/>
            <a:ext cx="303544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직사각형 182"/>
          <p:cNvSpPr/>
          <p:nvPr/>
        </p:nvSpPr>
        <p:spPr>
          <a:xfrm>
            <a:off x="5746297" y="4279627"/>
            <a:ext cx="56938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ko-KR" altLang="en-US" sz="1000" dirty="0" err="1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서버팜</a:t>
            </a:r>
            <a:endParaRPr lang="ko-KR" altLang="en-US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4" name="자유형 183"/>
          <p:cNvSpPr/>
          <p:nvPr/>
        </p:nvSpPr>
        <p:spPr bwMode="auto">
          <a:xfrm>
            <a:off x="4935590" y="4150914"/>
            <a:ext cx="657438" cy="749869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86" name="자유형 185"/>
          <p:cNvSpPr/>
          <p:nvPr/>
        </p:nvSpPr>
        <p:spPr bwMode="auto">
          <a:xfrm>
            <a:off x="5147925" y="4204501"/>
            <a:ext cx="691593" cy="781103"/>
          </a:xfrm>
          <a:custGeom>
            <a:avLst/>
            <a:gdLst>
              <a:gd name="connsiteX0" fmla="*/ 0 w 10633"/>
              <a:gd name="connsiteY0" fmla="*/ 0 h 946297"/>
              <a:gd name="connsiteX1" fmla="*/ 10633 w 10633"/>
              <a:gd name="connsiteY1" fmla="*/ 946297 h 946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33" h="946297">
                <a:moveTo>
                  <a:pt x="0" y="0"/>
                </a:moveTo>
                <a:lnTo>
                  <a:pt x="10633" y="946297"/>
                </a:ln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dirty="0"/>
          </a:p>
        </p:txBody>
      </p:sp>
      <p:sp>
        <p:nvSpPr>
          <p:cNvPr id="187" name="Oval 16"/>
          <p:cNvSpPr>
            <a:spLocks noChangeArrowheads="1"/>
          </p:cNvSpPr>
          <p:nvPr/>
        </p:nvSpPr>
        <p:spPr bwMode="auto">
          <a:xfrm>
            <a:off x="5855224" y="5254740"/>
            <a:ext cx="800050" cy="68410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192" name="Picture 17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1344" y="5244507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492" y="5309385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530" y="5374261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" name="Picture 192" descr="RouterATMTagSw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017" y="4567096"/>
            <a:ext cx="302498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8" name="Picture 192" descr="RouterATMTagSw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899" y="4676545"/>
            <a:ext cx="303544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" name="Picture 192" descr="RouterATMTagSw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394" y="3766808"/>
            <a:ext cx="302498" cy="3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0" name="Picture 192" descr="RouterATMTagSw"/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134" y="3933939"/>
            <a:ext cx="303544" cy="39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1" name="직사각형 200"/>
          <p:cNvSpPr/>
          <p:nvPr/>
        </p:nvSpPr>
        <p:spPr>
          <a:xfrm>
            <a:off x="5534439" y="5863239"/>
            <a:ext cx="169543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ERP/MIS/</a:t>
            </a:r>
          </a:p>
          <a:p>
            <a:pPr lvl="0"/>
            <a:r>
              <a:rPr lang="ko-KR" altLang="en-US" sz="1000" dirty="0" smtClean="0">
                <a:solidFill>
                  <a:srgbClr val="FF0000"/>
                </a:solidFill>
              </a:rPr>
              <a:t>인사</a:t>
            </a:r>
            <a:r>
              <a:rPr lang="en-US" altLang="ko-KR" sz="1000" dirty="0" smtClean="0">
                <a:solidFill>
                  <a:srgbClr val="FF0000"/>
                </a:solidFill>
              </a:rPr>
              <a:t>/</a:t>
            </a:r>
            <a:r>
              <a:rPr lang="ko-KR" altLang="en-US" sz="1000" dirty="0" smtClean="0">
                <a:solidFill>
                  <a:srgbClr val="FF0000"/>
                </a:solidFill>
              </a:rPr>
              <a:t>총무</a:t>
            </a:r>
            <a:endParaRPr lang="en-US" altLang="ko-KR" sz="1000" dirty="0" smtClean="0">
              <a:solidFill>
                <a:srgbClr val="FF0000"/>
              </a:solidFill>
            </a:endParaRPr>
          </a:p>
          <a:p>
            <a:pPr lvl="0"/>
            <a:r>
              <a:rPr lang="ko-KR" altLang="en-US" sz="1000" dirty="0" smtClean="0">
                <a:solidFill>
                  <a:srgbClr val="FF0000"/>
                </a:solidFill>
              </a:rPr>
              <a:t>기타 사내시스템</a:t>
            </a:r>
            <a:endParaRPr lang="en-US" altLang="ko-KR" sz="1000" dirty="0" smtClean="0">
              <a:solidFill>
                <a:srgbClr val="FF0000"/>
              </a:solidFill>
            </a:endParaRPr>
          </a:p>
        </p:txBody>
      </p:sp>
      <p:cxnSp>
        <p:nvCxnSpPr>
          <p:cNvPr id="203" name="직선 연결선 202"/>
          <p:cNvCxnSpPr>
            <a:stCxn id="199" idx="0"/>
            <a:endCxn id="165" idx="2"/>
          </p:cNvCxnSpPr>
          <p:nvPr/>
        </p:nvCxnSpPr>
        <p:spPr>
          <a:xfrm flipH="1" flipV="1">
            <a:off x="4893458" y="2830608"/>
            <a:ext cx="1186" cy="9362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직선 연결선 203"/>
          <p:cNvCxnSpPr>
            <a:stCxn id="200" idx="2"/>
          </p:cNvCxnSpPr>
          <p:nvPr/>
        </p:nvCxnSpPr>
        <p:spPr>
          <a:xfrm flipH="1">
            <a:off x="4602600" y="4329680"/>
            <a:ext cx="454306" cy="3732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직선 연결선 204"/>
          <p:cNvCxnSpPr>
            <a:stCxn id="175" idx="2"/>
            <a:endCxn id="170" idx="7"/>
          </p:cNvCxnSpPr>
          <p:nvPr/>
        </p:nvCxnSpPr>
        <p:spPr>
          <a:xfrm flipH="1">
            <a:off x="4496675" y="4999144"/>
            <a:ext cx="161418" cy="4275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 Box 8"/>
          <p:cNvSpPr txBox="1">
            <a:spLocks noChangeArrowheads="1"/>
          </p:cNvSpPr>
          <p:nvPr/>
        </p:nvSpPr>
        <p:spPr bwMode="auto">
          <a:xfrm>
            <a:off x="6079401" y="1055831"/>
            <a:ext cx="575962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남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207" name="Text Box 8"/>
          <p:cNvSpPr txBox="1">
            <a:spLocks noChangeArrowheads="1"/>
          </p:cNvSpPr>
          <p:nvPr/>
        </p:nvSpPr>
        <p:spPr bwMode="auto">
          <a:xfrm>
            <a:off x="6094178" y="2228678"/>
            <a:ext cx="575962" cy="236406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3600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1000" dirty="0" smtClean="0">
                <a:solidFill>
                  <a:srgbClr val="000000"/>
                </a:solidFill>
              </a:rPr>
              <a:t>대덕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208" name="직사각형 207"/>
          <p:cNvSpPr/>
          <p:nvPr/>
        </p:nvSpPr>
        <p:spPr>
          <a:xfrm>
            <a:off x="8095861" y="1033096"/>
            <a:ext cx="1354455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 u-Tower</a:t>
            </a:r>
          </a:p>
        </p:txBody>
      </p:sp>
      <p:sp>
        <p:nvSpPr>
          <p:cNvPr id="210" name="직사각형 209"/>
          <p:cNvSpPr/>
          <p:nvPr/>
        </p:nvSpPr>
        <p:spPr>
          <a:xfrm>
            <a:off x="8095861" y="1700809"/>
            <a:ext cx="1354455" cy="646073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700"/>
              </a:lnSpc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판교 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C</a:t>
            </a:r>
          </a:p>
        </p:txBody>
      </p:sp>
      <p:graphicFrame>
        <p:nvGraphicFramePr>
          <p:cNvPr id="211" name="개체 2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3415650"/>
              </p:ext>
            </p:extLst>
          </p:nvPr>
        </p:nvGraphicFramePr>
        <p:xfrm>
          <a:off x="7689304" y="1147939"/>
          <a:ext cx="319595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Image" r:id="rId9" imgW="5295238" imgH="2526984" progId="">
                  <p:embed/>
                </p:oleObj>
              </mc:Choice>
              <mc:Fallback>
                <p:oleObj name="Image" r:id="rId9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89304" y="1147939"/>
                        <a:ext cx="319595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" name="직사각형 211"/>
          <p:cNvSpPr>
            <a:spLocks noChangeArrowheads="1"/>
          </p:cNvSpPr>
          <p:nvPr/>
        </p:nvSpPr>
        <p:spPr bwMode="auto">
          <a:xfrm>
            <a:off x="7661203" y="1322385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graphicFrame>
        <p:nvGraphicFramePr>
          <p:cNvPr id="214" name="개체 2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521822"/>
              </p:ext>
            </p:extLst>
          </p:nvPr>
        </p:nvGraphicFramePr>
        <p:xfrm>
          <a:off x="7704616" y="1902037"/>
          <a:ext cx="319595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Image" r:id="rId11" imgW="5295238" imgH="2526984" progId="">
                  <p:embed/>
                </p:oleObj>
              </mc:Choice>
              <mc:Fallback>
                <p:oleObj name="Image" r:id="rId11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04616" y="1902037"/>
                        <a:ext cx="319595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" name="직사각형 214"/>
          <p:cNvSpPr>
            <a:spLocks noChangeArrowheads="1"/>
          </p:cNvSpPr>
          <p:nvPr/>
        </p:nvSpPr>
        <p:spPr bwMode="auto">
          <a:xfrm>
            <a:off x="7676515" y="2076483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cxnSp>
        <p:nvCxnSpPr>
          <p:cNvPr id="228" name="꺾인 연결선 227"/>
          <p:cNvCxnSpPr>
            <a:endCxn id="265" idx="3"/>
          </p:cNvCxnSpPr>
          <p:nvPr/>
        </p:nvCxnSpPr>
        <p:spPr>
          <a:xfrm rot="10800000">
            <a:off x="5097987" y="1411869"/>
            <a:ext cx="2591320" cy="561526"/>
          </a:xfrm>
          <a:prstGeom prst="bentConnector3">
            <a:avLst>
              <a:gd name="adj1" fmla="val 19401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직선 연결선 228"/>
          <p:cNvCxnSpPr/>
          <p:nvPr/>
        </p:nvCxnSpPr>
        <p:spPr bwMode="auto">
          <a:xfrm>
            <a:off x="1047694" y="5563649"/>
            <a:ext cx="214312" cy="1587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직선 연결선 229"/>
          <p:cNvCxnSpPr/>
          <p:nvPr/>
        </p:nvCxnSpPr>
        <p:spPr bwMode="auto">
          <a:xfrm>
            <a:off x="1047694" y="5698585"/>
            <a:ext cx="214312" cy="1588"/>
          </a:xfrm>
          <a:prstGeom prst="line">
            <a:avLst/>
          </a:prstGeom>
          <a:ln w="3175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TextBox 26"/>
          <p:cNvSpPr txBox="1">
            <a:spLocks noChangeArrowheads="1"/>
          </p:cNvSpPr>
          <p:nvPr/>
        </p:nvSpPr>
        <p:spPr bwMode="auto">
          <a:xfrm>
            <a:off x="1227519" y="5467897"/>
            <a:ext cx="7344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rPr>
              <a:t>일반 인터넷</a:t>
            </a:r>
            <a:endParaRPr lang="en-US" altLang="ko-KR" sz="800" b="1" dirty="0">
              <a:solidFill>
                <a:srgbClr val="0070C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2" name="TextBox 27"/>
          <p:cNvSpPr txBox="1">
            <a:spLocks noChangeArrowheads="1"/>
          </p:cNvSpPr>
          <p:nvPr/>
        </p:nvSpPr>
        <p:spPr bwMode="auto">
          <a:xfrm>
            <a:off x="1227520" y="5598593"/>
            <a:ext cx="7425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인터넷 </a:t>
            </a:r>
            <a:r>
              <a:rPr lang="en-US" altLang="ko-KR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VPN</a:t>
            </a:r>
            <a:endParaRPr lang="en-US" altLang="ko-KR" sz="8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3" name="직사각형 232"/>
          <p:cNvSpPr/>
          <p:nvPr/>
        </p:nvSpPr>
        <p:spPr bwMode="auto">
          <a:xfrm>
            <a:off x="961968" y="5457286"/>
            <a:ext cx="1185862" cy="78581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800"/>
          </a:p>
        </p:txBody>
      </p:sp>
      <p:cxnSp>
        <p:nvCxnSpPr>
          <p:cNvPr id="237" name="직선 연결선 236"/>
          <p:cNvCxnSpPr/>
          <p:nvPr/>
        </p:nvCxnSpPr>
        <p:spPr bwMode="auto">
          <a:xfrm>
            <a:off x="1047694" y="5833524"/>
            <a:ext cx="214312" cy="1587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TextBox 33"/>
          <p:cNvSpPr txBox="1">
            <a:spLocks noChangeArrowheads="1"/>
          </p:cNvSpPr>
          <p:nvPr/>
        </p:nvSpPr>
        <p:spPr bwMode="auto">
          <a:xfrm>
            <a:off x="1227519" y="5729288"/>
            <a:ext cx="7280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>
                <a:latin typeface="맑은 고딕" pitchFamily="50" charset="-127"/>
                <a:ea typeface="맑은 고딕" pitchFamily="50" charset="-127"/>
              </a:rPr>
              <a:t>UTP(RJ-45)</a:t>
            </a:r>
          </a:p>
        </p:txBody>
      </p:sp>
      <p:cxnSp>
        <p:nvCxnSpPr>
          <p:cNvPr id="246" name="직선 연결선 245"/>
          <p:cNvCxnSpPr/>
          <p:nvPr/>
        </p:nvCxnSpPr>
        <p:spPr bwMode="auto">
          <a:xfrm>
            <a:off x="1047694" y="5970049"/>
            <a:ext cx="214312" cy="1587"/>
          </a:xfrm>
          <a:prstGeom prst="line">
            <a:avLst/>
          </a:prstGeom>
          <a:ln w="3175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TextBox 133"/>
          <p:cNvSpPr txBox="1">
            <a:spLocks noChangeArrowheads="1"/>
          </p:cNvSpPr>
          <p:nvPr/>
        </p:nvSpPr>
        <p:spPr bwMode="auto">
          <a:xfrm>
            <a:off x="1227520" y="5859983"/>
            <a:ext cx="49244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C000"/>
                </a:solidFill>
                <a:latin typeface="맑은 고딕" pitchFamily="50" charset="-127"/>
                <a:ea typeface="맑은 고딕" pitchFamily="50" charset="-127"/>
              </a:rPr>
              <a:t>전용</a:t>
            </a:r>
            <a:r>
              <a:rPr lang="ko-KR" altLang="en-US" sz="800" b="1" dirty="0">
                <a:solidFill>
                  <a:srgbClr val="FFC000"/>
                </a:solidFill>
                <a:latin typeface="맑은 고딕" pitchFamily="50" charset="-127"/>
                <a:ea typeface="맑은 고딕" pitchFamily="50" charset="-127"/>
              </a:rPr>
              <a:t>선</a:t>
            </a:r>
            <a:endParaRPr lang="en-US" altLang="ko-KR" sz="800" b="1" dirty="0">
              <a:solidFill>
                <a:srgbClr val="FFC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48" name="직선 연결선 247"/>
          <p:cNvCxnSpPr/>
          <p:nvPr/>
        </p:nvCxnSpPr>
        <p:spPr bwMode="auto">
          <a:xfrm>
            <a:off x="1047694" y="6104985"/>
            <a:ext cx="214312" cy="1588"/>
          </a:xfrm>
          <a:prstGeom prst="line">
            <a:avLst/>
          </a:prstGeom>
          <a:ln w="3175" cmpd="sng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TextBox 133"/>
          <p:cNvSpPr txBox="1">
            <a:spLocks noChangeArrowheads="1"/>
          </p:cNvSpPr>
          <p:nvPr/>
        </p:nvSpPr>
        <p:spPr bwMode="auto">
          <a:xfrm>
            <a:off x="1227519" y="5990680"/>
            <a:ext cx="4443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smtClean="0">
                <a:solidFill>
                  <a:srgbClr val="00B050"/>
                </a:solidFill>
                <a:latin typeface="맑은 고딕" pitchFamily="50" charset="-127"/>
                <a:ea typeface="맑은 고딕" pitchFamily="50" charset="-127"/>
              </a:rPr>
              <a:t>ADSL</a:t>
            </a:r>
            <a:endParaRPr lang="en-US" altLang="ko-KR" sz="800" b="1" dirty="0">
              <a:solidFill>
                <a:srgbClr val="00B05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50" name="꺾인 연결선 249"/>
          <p:cNvCxnSpPr>
            <a:stCxn id="265" idx="1"/>
          </p:cNvCxnSpPr>
          <p:nvPr/>
        </p:nvCxnSpPr>
        <p:spPr>
          <a:xfrm rot="10800000" flipV="1">
            <a:off x="2865175" y="1411869"/>
            <a:ext cx="1796536" cy="401713"/>
          </a:xfrm>
          <a:prstGeom prst="bentConnector3">
            <a:avLst>
              <a:gd name="adj1" fmla="val 84169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직선 연결선 251"/>
          <p:cNvCxnSpPr/>
          <p:nvPr/>
        </p:nvCxnSpPr>
        <p:spPr>
          <a:xfrm flipH="1">
            <a:off x="4893457" y="1373102"/>
            <a:ext cx="5985" cy="10174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Oval 16"/>
          <p:cNvSpPr>
            <a:spLocks noChangeArrowheads="1"/>
          </p:cNvSpPr>
          <p:nvPr/>
        </p:nvSpPr>
        <p:spPr bwMode="auto">
          <a:xfrm>
            <a:off x="5558385" y="2561512"/>
            <a:ext cx="1020140" cy="676710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254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653" y="2729501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90" y="2794377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7" name="직사각형 256"/>
          <p:cNvSpPr/>
          <p:nvPr/>
        </p:nvSpPr>
        <p:spPr>
          <a:xfrm>
            <a:off x="5552019" y="3185274"/>
            <a:ext cx="113072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Homepage</a:t>
            </a:r>
          </a:p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Ecophone4u</a:t>
            </a:r>
          </a:p>
          <a:p>
            <a:pPr lvl="0"/>
            <a:r>
              <a:rPr lang="en-US" altLang="ko-KR" sz="1000" dirty="0" smtClean="0">
                <a:solidFill>
                  <a:srgbClr val="FF0000"/>
                </a:solidFill>
              </a:rPr>
              <a:t>sos.skcc.com</a:t>
            </a:r>
          </a:p>
        </p:txBody>
      </p:sp>
      <p:cxnSp>
        <p:nvCxnSpPr>
          <p:cNvPr id="258" name="직선 연결선 257"/>
          <p:cNvCxnSpPr>
            <a:stCxn id="256" idx="2"/>
            <a:endCxn id="264" idx="3"/>
          </p:cNvCxnSpPr>
          <p:nvPr/>
        </p:nvCxnSpPr>
        <p:spPr>
          <a:xfrm flipH="1">
            <a:off x="5140333" y="3152748"/>
            <a:ext cx="610873" cy="325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꺾인 연결선 261"/>
          <p:cNvCxnSpPr/>
          <p:nvPr/>
        </p:nvCxnSpPr>
        <p:spPr>
          <a:xfrm rot="10800000" flipV="1">
            <a:off x="5031327" y="1292236"/>
            <a:ext cx="2629876" cy="205072"/>
          </a:xfrm>
          <a:prstGeom prst="bentConnector3">
            <a:avLst>
              <a:gd name="adj1" fmla="val 9152"/>
            </a:avLst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꺾인 연결선 262"/>
          <p:cNvCxnSpPr/>
          <p:nvPr/>
        </p:nvCxnSpPr>
        <p:spPr>
          <a:xfrm rot="16200000" flipV="1">
            <a:off x="7294987" y="1639801"/>
            <a:ext cx="536811" cy="251826"/>
          </a:xfrm>
          <a:prstGeom prst="bentConnector3">
            <a:avLst>
              <a:gd name="adj1" fmla="val 963"/>
            </a:avLst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4" name="Picture 102" descr="3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644" y="3029325"/>
            <a:ext cx="467689" cy="31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200" descr="router-generic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710" y="1247644"/>
            <a:ext cx="436277" cy="32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" name="TextBox 265"/>
          <p:cNvSpPr txBox="1"/>
          <p:nvPr/>
        </p:nvSpPr>
        <p:spPr>
          <a:xfrm>
            <a:off x="8619869" y="1331476"/>
            <a:ext cx="664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 smtClean="0"/>
              <a:t>…</a:t>
            </a:r>
            <a:endParaRPr lang="en-US" altLang="ko-KR" dirty="0"/>
          </a:p>
        </p:txBody>
      </p:sp>
      <p:grpSp>
        <p:nvGrpSpPr>
          <p:cNvPr id="267" name="그룹 266"/>
          <p:cNvGrpSpPr/>
          <p:nvPr/>
        </p:nvGrpSpPr>
        <p:grpSpPr>
          <a:xfrm>
            <a:off x="8260475" y="649490"/>
            <a:ext cx="963692" cy="329321"/>
            <a:chOff x="1021115" y="854063"/>
            <a:chExt cx="2395833" cy="329321"/>
          </a:xfrm>
        </p:grpSpPr>
        <p:sp>
          <p:nvSpPr>
            <p:cNvPr id="268" name="Line 19"/>
            <p:cNvSpPr>
              <a:spLocks noChangeShapeType="1"/>
            </p:cNvSpPr>
            <p:nvPr/>
          </p:nvSpPr>
          <p:spPr bwMode="auto">
            <a:xfrm>
              <a:off x="1021115" y="1162050"/>
              <a:ext cx="2395833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0" name="Text Box 20"/>
            <p:cNvSpPr txBox="1">
              <a:spLocks noChangeArrowheads="1"/>
            </p:cNvSpPr>
            <p:nvPr/>
          </p:nvSpPr>
          <p:spPr bwMode="auto">
            <a:xfrm>
              <a:off x="1040188" y="854063"/>
              <a:ext cx="2313217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smtClean="0">
                  <a:solidFill>
                    <a:srgbClr val="000000"/>
                  </a:solidFill>
                </a:rPr>
                <a:t>사업장</a:t>
              </a:r>
            </a:p>
          </p:txBody>
        </p:sp>
      </p:grpSp>
      <p:cxnSp>
        <p:nvCxnSpPr>
          <p:cNvPr id="272" name="직선 연결선 271"/>
          <p:cNvCxnSpPr>
            <a:stCxn id="193" idx="0"/>
            <a:endCxn id="198" idx="2"/>
          </p:cNvCxnSpPr>
          <p:nvPr/>
        </p:nvCxnSpPr>
        <p:spPr>
          <a:xfrm flipH="1" flipV="1">
            <a:off x="5854672" y="5071152"/>
            <a:ext cx="296892" cy="2382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3" name="개체 27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4031839"/>
              </p:ext>
            </p:extLst>
          </p:nvPr>
        </p:nvGraphicFramePr>
        <p:xfrm>
          <a:off x="3986658" y="3069080"/>
          <a:ext cx="536331" cy="30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Image" r:id="rId14" imgW="5295238" imgH="2526984" progId="">
                  <p:embed/>
                </p:oleObj>
              </mc:Choice>
              <mc:Fallback>
                <p:oleObj name="Image" r:id="rId14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86658" y="3069080"/>
                        <a:ext cx="536331" cy="30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4" name="직선 연결선 273"/>
          <p:cNvCxnSpPr>
            <a:stCxn id="273" idx="3"/>
            <a:endCxn id="264" idx="1"/>
          </p:cNvCxnSpPr>
          <p:nvPr/>
        </p:nvCxnSpPr>
        <p:spPr>
          <a:xfrm flipV="1">
            <a:off x="4522989" y="3185275"/>
            <a:ext cx="149655" cy="338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TextBox 274"/>
          <p:cNvSpPr txBox="1"/>
          <p:nvPr/>
        </p:nvSpPr>
        <p:spPr>
          <a:xfrm>
            <a:off x="4099982" y="126876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pic>
        <p:nvPicPr>
          <p:cNvPr id="276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9803" y="2550315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7" name="Picture 18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235" y="2634577"/>
            <a:ext cx="230142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8" name="TextBox 277"/>
          <p:cNvSpPr txBox="1"/>
          <p:nvPr/>
        </p:nvSpPr>
        <p:spPr>
          <a:xfrm>
            <a:off x="5612028" y="2593381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WEB</a:t>
            </a:r>
            <a:endParaRPr lang="ko-KR" altLang="en-US" sz="900" b="1" dirty="0"/>
          </a:p>
        </p:txBody>
      </p:sp>
      <p:sp>
        <p:nvSpPr>
          <p:cNvPr id="279" name="TextBox 278"/>
          <p:cNvSpPr txBox="1"/>
          <p:nvPr/>
        </p:nvSpPr>
        <p:spPr>
          <a:xfrm>
            <a:off x="6213180" y="2731075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WAS</a:t>
            </a:r>
            <a:endParaRPr lang="ko-KR" altLang="en-US" sz="900" b="1" dirty="0"/>
          </a:p>
        </p:txBody>
      </p:sp>
      <p:pic>
        <p:nvPicPr>
          <p:cNvPr id="280" name="Picture 21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599" y="5587183"/>
            <a:ext cx="286305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1" name="TextBox 280"/>
          <p:cNvSpPr txBox="1"/>
          <p:nvPr/>
        </p:nvSpPr>
        <p:spPr>
          <a:xfrm>
            <a:off x="6068455" y="5253633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AP</a:t>
            </a:r>
            <a:endParaRPr lang="ko-KR" altLang="en-US" sz="900" b="1" dirty="0"/>
          </a:p>
        </p:txBody>
      </p:sp>
      <p:sp>
        <p:nvSpPr>
          <p:cNvPr id="282" name="TextBox 281"/>
          <p:cNvSpPr txBox="1"/>
          <p:nvPr/>
        </p:nvSpPr>
        <p:spPr>
          <a:xfrm>
            <a:off x="6366849" y="5418964"/>
            <a:ext cx="448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 smtClean="0"/>
              <a:t>DB</a:t>
            </a:r>
            <a:endParaRPr lang="ko-KR" altLang="en-US" sz="900" b="1" dirty="0"/>
          </a:p>
        </p:txBody>
      </p:sp>
      <p:pic>
        <p:nvPicPr>
          <p:cNvPr id="283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174" y="5445225"/>
            <a:ext cx="231030" cy="35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4" name="Picture 21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281" y="5671644"/>
            <a:ext cx="286305" cy="209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5" name="직사각형 284"/>
          <p:cNvSpPr/>
          <p:nvPr/>
        </p:nvSpPr>
        <p:spPr>
          <a:xfrm>
            <a:off x="5446067" y="2390503"/>
            <a:ext cx="46839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DMZ</a:t>
            </a:r>
            <a:endParaRPr lang="ko-KR" altLang="en-US" sz="1000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6" name="자유형 285"/>
          <p:cNvSpPr/>
          <p:nvPr/>
        </p:nvSpPr>
        <p:spPr>
          <a:xfrm>
            <a:off x="4432826" y="1530770"/>
            <a:ext cx="3617406" cy="3852992"/>
          </a:xfrm>
          <a:custGeom>
            <a:avLst/>
            <a:gdLst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548881 w 3788228"/>
              <a:gd name="connsiteY2" fmla="*/ 3752773 h 3995369"/>
              <a:gd name="connsiteX3" fmla="*/ 1735494 w 3788228"/>
              <a:gd name="connsiteY3" fmla="*/ 3584822 h 3995369"/>
              <a:gd name="connsiteX4" fmla="*/ 531845 w 3788228"/>
              <a:gd name="connsiteY4" fmla="*/ 2119916 h 3995369"/>
              <a:gd name="connsiteX5" fmla="*/ 569167 w 3788228"/>
              <a:gd name="connsiteY5" fmla="*/ 309777 h 3995369"/>
              <a:gd name="connsiteX6" fmla="*/ 3788228 w 3788228"/>
              <a:gd name="connsiteY6" fmla="*/ 1867 h 3995369"/>
              <a:gd name="connsiteX7" fmla="*/ 3788228 w 3788228"/>
              <a:gd name="connsiteY7" fmla="*/ 1867 h 3995369"/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548881 w 3788228"/>
              <a:gd name="connsiteY2" fmla="*/ 3752773 h 3995369"/>
              <a:gd name="connsiteX3" fmla="*/ 531845 w 3788228"/>
              <a:gd name="connsiteY3" fmla="*/ 2119916 h 3995369"/>
              <a:gd name="connsiteX4" fmla="*/ 569167 w 3788228"/>
              <a:gd name="connsiteY4" fmla="*/ 309777 h 3995369"/>
              <a:gd name="connsiteX5" fmla="*/ 3788228 w 3788228"/>
              <a:gd name="connsiteY5" fmla="*/ 1867 h 3995369"/>
              <a:gd name="connsiteX6" fmla="*/ 3788228 w 3788228"/>
              <a:gd name="connsiteY6" fmla="*/ 1867 h 3995369"/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707501 w 3788228"/>
              <a:gd name="connsiteY2" fmla="*/ 3715450 h 3995369"/>
              <a:gd name="connsiteX3" fmla="*/ 531845 w 3788228"/>
              <a:gd name="connsiteY3" fmla="*/ 2119916 h 3995369"/>
              <a:gd name="connsiteX4" fmla="*/ 569167 w 3788228"/>
              <a:gd name="connsiteY4" fmla="*/ 309777 h 3995369"/>
              <a:gd name="connsiteX5" fmla="*/ 3788228 w 3788228"/>
              <a:gd name="connsiteY5" fmla="*/ 1867 h 3995369"/>
              <a:gd name="connsiteX6" fmla="*/ 3788228 w 3788228"/>
              <a:gd name="connsiteY6" fmla="*/ 1867 h 3995369"/>
              <a:gd name="connsiteX0" fmla="*/ 0 w 3788228"/>
              <a:gd name="connsiteY0" fmla="*/ 3995369 h 3995369"/>
              <a:gd name="connsiteX1" fmla="*/ 550506 w 3788228"/>
              <a:gd name="connsiteY1" fmla="*/ 2922349 h 3995369"/>
              <a:gd name="connsiteX2" fmla="*/ 1707501 w 3788228"/>
              <a:gd name="connsiteY2" fmla="*/ 3715450 h 3995369"/>
              <a:gd name="connsiteX3" fmla="*/ 531845 w 3788228"/>
              <a:gd name="connsiteY3" fmla="*/ 2119916 h 3995369"/>
              <a:gd name="connsiteX4" fmla="*/ 569167 w 3788228"/>
              <a:gd name="connsiteY4" fmla="*/ 309777 h 3995369"/>
              <a:gd name="connsiteX5" fmla="*/ 3788228 w 3788228"/>
              <a:gd name="connsiteY5" fmla="*/ 1867 h 3995369"/>
              <a:gd name="connsiteX6" fmla="*/ 3788228 w 3788228"/>
              <a:gd name="connsiteY6" fmla="*/ 1867 h 3995369"/>
              <a:gd name="connsiteX0" fmla="*/ 0 w 3872203"/>
              <a:gd name="connsiteY0" fmla="*/ 3911393 h 3911393"/>
              <a:gd name="connsiteX1" fmla="*/ 634481 w 3872203"/>
              <a:gd name="connsiteY1" fmla="*/ 2922349 h 3911393"/>
              <a:gd name="connsiteX2" fmla="*/ 1791476 w 3872203"/>
              <a:gd name="connsiteY2" fmla="*/ 3715450 h 3911393"/>
              <a:gd name="connsiteX3" fmla="*/ 615820 w 3872203"/>
              <a:gd name="connsiteY3" fmla="*/ 2119916 h 3911393"/>
              <a:gd name="connsiteX4" fmla="*/ 653142 w 3872203"/>
              <a:gd name="connsiteY4" fmla="*/ 309777 h 3911393"/>
              <a:gd name="connsiteX5" fmla="*/ 3872203 w 3872203"/>
              <a:gd name="connsiteY5" fmla="*/ 1867 h 3911393"/>
              <a:gd name="connsiteX6" fmla="*/ 3872203 w 3872203"/>
              <a:gd name="connsiteY6" fmla="*/ 1867 h 3911393"/>
              <a:gd name="connsiteX0" fmla="*/ 0 w 3872203"/>
              <a:gd name="connsiteY0" fmla="*/ 3911393 h 3911393"/>
              <a:gd name="connsiteX1" fmla="*/ 634481 w 3872203"/>
              <a:gd name="connsiteY1" fmla="*/ 2922349 h 3911393"/>
              <a:gd name="connsiteX2" fmla="*/ 1791476 w 3872203"/>
              <a:gd name="connsiteY2" fmla="*/ 3715450 h 3911393"/>
              <a:gd name="connsiteX3" fmla="*/ 615820 w 3872203"/>
              <a:gd name="connsiteY3" fmla="*/ 2119916 h 3911393"/>
              <a:gd name="connsiteX4" fmla="*/ 653142 w 3872203"/>
              <a:gd name="connsiteY4" fmla="*/ 309777 h 3911393"/>
              <a:gd name="connsiteX5" fmla="*/ 3872203 w 3872203"/>
              <a:gd name="connsiteY5" fmla="*/ 1867 h 3911393"/>
              <a:gd name="connsiteX6" fmla="*/ 3872203 w 3872203"/>
              <a:gd name="connsiteY6" fmla="*/ 1867 h 3911393"/>
              <a:gd name="connsiteX0" fmla="*/ 0 w 3872203"/>
              <a:gd name="connsiteY0" fmla="*/ 3936968 h 3936968"/>
              <a:gd name="connsiteX1" fmla="*/ 634481 w 3872203"/>
              <a:gd name="connsiteY1" fmla="*/ 2947924 h 3936968"/>
              <a:gd name="connsiteX2" fmla="*/ 1791476 w 3872203"/>
              <a:gd name="connsiteY2" fmla="*/ 3741025 h 3936968"/>
              <a:gd name="connsiteX3" fmla="*/ 615820 w 3872203"/>
              <a:gd name="connsiteY3" fmla="*/ 2145491 h 3936968"/>
              <a:gd name="connsiteX4" fmla="*/ 951722 w 3872203"/>
              <a:gd name="connsiteY4" fmla="*/ 214054 h 3936968"/>
              <a:gd name="connsiteX5" fmla="*/ 3872203 w 3872203"/>
              <a:gd name="connsiteY5" fmla="*/ 27442 h 3936968"/>
              <a:gd name="connsiteX6" fmla="*/ 3872203 w 3872203"/>
              <a:gd name="connsiteY6" fmla="*/ 27442 h 3936968"/>
              <a:gd name="connsiteX0" fmla="*/ 0 w 3918857"/>
              <a:gd name="connsiteY0" fmla="*/ 3852992 h 3852992"/>
              <a:gd name="connsiteX1" fmla="*/ 681135 w 3918857"/>
              <a:gd name="connsiteY1" fmla="*/ 2947924 h 3852992"/>
              <a:gd name="connsiteX2" fmla="*/ 1838130 w 3918857"/>
              <a:gd name="connsiteY2" fmla="*/ 3741025 h 3852992"/>
              <a:gd name="connsiteX3" fmla="*/ 662474 w 3918857"/>
              <a:gd name="connsiteY3" fmla="*/ 2145491 h 3852992"/>
              <a:gd name="connsiteX4" fmla="*/ 998376 w 3918857"/>
              <a:gd name="connsiteY4" fmla="*/ 214054 h 3852992"/>
              <a:gd name="connsiteX5" fmla="*/ 3918857 w 3918857"/>
              <a:gd name="connsiteY5" fmla="*/ 27442 h 3852992"/>
              <a:gd name="connsiteX6" fmla="*/ 3918857 w 3918857"/>
              <a:gd name="connsiteY6" fmla="*/ 27442 h 385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18857" h="3852992">
                <a:moveTo>
                  <a:pt x="0" y="3852992"/>
                </a:moveTo>
                <a:cubicBezTo>
                  <a:pt x="202163" y="3364690"/>
                  <a:pt x="374780" y="2966585"/>
                  <a:pt x="681135" y="2947924"/>
                </a:cubicBezTo>
                <a:cubicBezTo>
                  <a:pt x="987490" y="2929263"/>
                  <a:pt x="1579983" y="3958739"/>
                  <a:pt x="1838130" y="3741025"/>
                </a:cubicBezTo>
                <a:cubicBezTo>
                  <a:pt x="2096277" y="3523311"/>
                  <a:pt x="802433" y="2733319"/>
                  <a:pt x="662474" y="2145491"/>
                </a:cubicBezTo>
                <a:cubicBezTo>
                  <a:pt x="522515" y="1557663"/>
                  <a:pt x="455646" y="567062"/>
                  <a:pt x="998376" y="214054"/>
                </a:cubicBezTo>
                <a:cubicBezTo>
                  <a:pt x="1541106" y="-138954"/>
                  <a:pt x="3432110" y="58544"/>
                  <a:pt x="3918857" y="27442"/>
                </a:cubicBezTo>
                <a:lnTo>
                  <a:pt x="3918857" y="27442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7" name="자유형 286"/>
          <p:cNvSpPr/>
          <p:nvPr/>
        </p:nvSpPr>
        <p:spPr>
          <a:xfrm>
            <a:off x="3020315" y="1478820"/>
            <a:ext cx="2670002" cy="2300079"/>
          </a:xfrm>
          <a:custGeom>
            <a:avLst/>
            <a:gdLst>
              <a:gd name="connsiteX0" fmla="*/ 2397967 w 2892502"/>
              <a:gd name="connsiteY0" fmla="*/ 2300079 h 2300079"/>
              <a:gd name="connsiteX1" fmla="*/ 2267338 w 2892502"/>
              <a:gd name="connsiteY1" fmla="*/ 1488316 h 2300079"/>
              <a:gd name="connsiteX2" fmla="*/ 2892489 w 2892502"/>
              <a:gd name="connsiteY2" fmla="*/ 1320365 h 2300079"/>
              <a:gd name="connsiteX3" fmla="*/ 2248677 w 2892502"/>
              <a:gd name="connsiteY3" fmla="*/ 1115091 h 2300079"/>
              <a:gd name="connsiteX4" fmla="*/ 1903445 w 2892502"/>
              <a:gd name="connsiteY4" fmla="*/ 135377 h 2300079"/>
              <a:gd name="connsiteX5" fmla="*/ 0 w 2892502"/>
              <a:gd name="connsiteY5" fmla="*/ 32740 h 230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92502" h="2300079">
                <a:moveTo>
                  <a:pt x="2397967" y="2300079"/>
                </a:moveTo>
                <a:cubicBezTo>
                  <a:pt x="2291442" y="1975840"/>
                  <a:pt x="2184918" y="1651602"/>
                  <a:pt x="2267338" y="1488316"/>
                </a:cubicBezTo>
                <a:cubicBezTo>
                  <a:pt x="2349758" y="1325030"/>
                  <a:pt x="2895599" y="1382569"/>
                  <a:pt x="2892489" y="1320365"/>
                </a:cubicBezTo>
                <a:cubicBezTo>
                  <a:pt x="2889379" y="1258161"/>
                  <a:pt x="2413518" y="1312589"/>
                  <a:pt x="2248677" y="1115091"/>
                </a:cubicBezTo>
                <a:cubicBezTo>
                  <a:pt x="2083836" y="917593"/>
                  <a:pt x="2278224" y="315769"/>
                  <a:pt x="1903445" y="135377"/>
                </a:cubicBezTo>
                <a:cubicBezTo>
                  <a:pt x="1528666" y="-45015"/>
                  <a:pt x="764333" y="-6138"/>
                  <a:pt x="0" y="32740"/>
                </a:cubicBezTo>
              </a:path>
            </a:pathLst>
          </a:custGeom>
          <a:noFill/>
          <a:ln>
            <a:solidFill>
              <a:srgbClr val="FF0000"/>
            </a:solidFill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8" name="직사각형 287"/>
          <p:cNvSpPr/>
          <p:nvPr/>
        </p:nvSpPr>
        <p:spPr>
          <a:xfrm>
            <a:off x="776536" y="1700808"/>
            <a:ext cx="1686799" cy="402584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KC&amp;C 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임직원</a:t>
            </a:r>
            <a:endParaRPr lang="en-US" altLang="ko-KR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89" name="그룹 288"/>
          <p:cNvGrpSpPr/>
          <p:nvPr/>
        </p:nvGrpSpPr>
        <p:grpSpPr>
          <a:xfrm>
            <a:off x="843005" y="1096932"/>
            <a:ext cx="1495385" cy="329321"/>
            <a:chOff x="525463" y="980728"/>
            <a:chExt cx="1620000" cy="329321"/>
          </a:xfrm>
        </p:grpSpPr>
        <p:sp>
          <p:nvSpPr>
            <p:cNvPr id="290" name="Line 19"/>
            <p:cNvSpPr>
              <a:spLocks noChangeShapeType="1"/>
            </p:cNvSpPr>
            <p:nvPr/>
          </p:nvSpPr>
          <p:spPr bwMode="auto">
            <a:xfrm>
              <a:off x="525463" y="1288715"/>
              <a:ext cx="1620000" cy="0"/>
            </a:xfrm>
            <a:prstGeom prst="line">
              <a:avLst/>
            </a:prstGeom>
            <a:noFill/>
            <a:ln w="12700">
              <a:solidFill>
                <a:srgbClr val="56424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1" fontAlgn="auto" latinLnBrk="1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600" b="1" kern="0" dirty="0">
                <a:solidFill>
                  <a:srgbClr val="1B1112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91" name="Text Box 20"/>
            <p:cNvSpPr txBox="1">
              <a:spLocks noChangeArrowheads="1"/>
            </p:cNvSpPr>
            <p:nvPr/>
          </p:nvSpPr>
          <p:spPr bwMode="auto">
            <a:xfrm>
              <a:off x="540682" y="980728"/>
              <a:ext cx="1512000" cy="32932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  <a:lvl2pPr marL="742950" indent="-28575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2pPr>
              <a:lvl3pPr marL="11430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3pPr>
              <a:lvl4pPr marL="16002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4pPr>
              <a:lvl5pPr marL="2057400" indent="-228600" eaLnBrk="0" hangingPunct="0"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2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9pPr>
            </a:lstStyle>
            <a:p>
              <a:pPr algn="ctr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ko-KR" altLang="en-US" sz="1400" kern="0" dirty="0" err="1" smtClean="0">
                  <a:solidFill>
                    <a:srgbClr val="000000"/>
                  </a:solidFill>
                </a:rPr>
                <a:t>고객사</a:t>
              </a:r>
              <a:endParaRPr lang="ko-KR" altLang="en-US" sz="1400" kern="0" dirty="0" smtClean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92" name="개체 29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9617085"/>
              </p:ext>
            </p:extLst>
          </p:nvPr>
        </p:nvGraphicFramePr>
        <p:xfrm>
          <a:off x="2532829" y="1724187"/>
          <a:ext cx="319595" cy="178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Image" r:id="rId16" imgW="5295238" imgH="2526984" progId="">
                  <p:embed/>
                </p:oleObj>
              </mc:Choice>
              <mc:Fallback>
                <p:oleObj name="Image" r:id="rId16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32829" y="1724187"/>
                        <a:ext cx="319595" cy="1787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3" name="직사각형 292"/>
          <p:cNvSpPr>
            <a:spLocks noChangeArrowheads="1"/>
          </p:cNvSpPr>
          <p:nvPr/>
        </p:nvSpPr>
        <p:spPr bwMode="auto">
          <a:xfrm>
            <a:off x="2504728" y="1898633"/>
            <a:ext cx="4122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dirty="0" smtClean="0"/>
              <a:t>VPN</a:t>
            </a:r>
            <a:endParaRPr lang="ko-KR" altLang="en-US" sz="900" dirty="0"/>
          </a:p>
        </p:txBody>
      </p:sp>
      <p:sp>
        <p:nvSpPr>
          <p:cNvPr id="294" name="TextBox 293"/>
          <p:cNvSpPr txBox="1"/>
          <p:nvPr/>
        </p:nvSpPr>
        <p:spPr>
          <a:xfrm>
            <a:off x="4698203" y="1916833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5656116" y="527101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6" name="TextBox 295"/>
          <p:cNvSpPr txBox="1"/>
          <p:nvPr/>
        </p:nvSpPr>
        <p:spPr>
          <a:xfrm>
            <a:off x="6359926" y="31827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7" name="TextBox 296"/>
          <p:cNvSpPr txBox="1"/>
          <p:nvPr/>
        </p:nvSpPr>
        <p:spPr>
          <a:xfrm>
            <a:off x="3994393" y="508518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298" name="직선 연결선 106"/>
          <p:cNvCxnSpPr>
            <a:endCxn id="265" idx="1"/>
          </p:cNvCxnSpPr>
          <p:nvPr/>
        </p:nvCxnSpPr>
        <p:spPr bwMode="auto">
          <a:xfrm flipV="1">
            <a:off x="2463337" y="1411869"/>
            <a:ext cx="2198373" cy="669974"/>
          </a:xfrm>
          <a:prstGeom prst="bentConnector3">
            <a:avLst>
              <a:gd name="adj1" fmla="val 31465"/>
            </a:avLst>
          </a:prstGeom>
          <a:ln w="3175" cmpd="sng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7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9419793"/>
              </p:ext>
            </p:extLst>
          </p:nvPr>
        </p:nvGraphicFramePr>
        <p:xfrm>
          <a:off x="711172" y="928041"/>
          <a:ext cx="8490300" cy="5009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3249"/>
                <a:gridCol w="563962"/>
                <a:gridCol w="2086734"/>
                <a:gridCol w="797627"/>
                <a:gridCol w="731158"/>
                <a:gridCol w="598220"/>
                <a:gridCol w="664689"/>
                <a:gridCol w="1794661"/>
              </a:tblGrid>
              <a:tr h="313918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4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발생</a:t>
                      </a:r>
                      <a:endParaRPr lang="en-US" altLang="ko-KR" sz="14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14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4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4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5922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본사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교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직원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</a:t>
                      </a:r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TE</a:t>
                      </a:r>
                      <a:b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직원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3231" marR="332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11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</a:t>
                      </a:r>
                      <a:endParaRPr lang="en-US" altLang="ko-KR" sz="11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8678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기회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/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약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/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젝트 진행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진행 불가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체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문 </a:t>
                      </a:r>
                      <a:r>
                        <a:rPr lang="ko-KR" altLang="en-US" sz="1200" dirty="0" err="1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라우터</a:t>
                      </a:r>
                      <a:r>
                        <a:rPr lang="ko-KR" altLang="en-US" sz="120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변경</a:t>
                      </a: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B/WA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 경로로 변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료 조회가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되지 않음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장애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867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성원 정보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회 되지 않음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인 정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BMS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4406" marR="8440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089297" y="210266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135907" y="332679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089297" y="275073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135907" y="4005065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135907" y="469494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35907" y="527101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509453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3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인태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143" name="직사각형 142"/>
          <p:cNvSpPr/>
          <p:nvPr/>
        </p:nvSpPr>
        <p:spPr bwMode="auto">
          <a:xfrm>
            <a:off x="386237" y="2029881"/>
            <a:ext cx="5166748" cy="30786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algn="ctr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</p:spPr>
        <p:txBody>
          <a:bodyPr wrap="none" tIns="468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MIS</a:t>
            </a:r>
            <a:r>
              <a:rPr kumimoji="0" lang="en-US" altLang="ko-KR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 구성 요소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402881"/>
            <a:ext cx="888223" cy="97844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541831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428149"/>
            <a:ext cx="2880320" cy="463955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b="1">
                <a:latin typeface="맑은 고딕" pitchFamily="50" charset="-127"/>
                <a:ea typeface="맑은 고딕" pitchFamily="50" charset="-127"/>
              </a:rPr>
              <a:t> H/W</a:t>
            </a:r>
            <a:r>
              <a:rPr lang="ko-KR" altLang="en-US" b="1">
                <a:latin typeface="맑은 고딕" pitchFamily="50" charset="-127"/>
                <a:ea typeface="맑은 고딕" pitchFamily="50" charset="-127"/>
              </a:rPr>
              <a:t>에 대한 모니터링</a:t>
            </a:r>
            <a:endParaRPr lang="en-US" altLang="ko-KR" b="1"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>
                <a:latin typeface="맑은 고딕" pitchFamily="50" charset="-127"/>
                <a:ea typeface="맑은 고딕" pitchFamily="50" charset="-127"/>
              </a:rPr>
              <a:t>- Disk Space, Memory, CPU</a:t>
            </a:r>
            <a:r>
              <a:rPr lang="ko-KR" altLang="en-US">
                <a:latin typeface="맑은 고딕" pitchFamily="50" charset="-127"/>
                <a:ea typeface="맑은 고딕" pitchFamily="50" charset="-127"/>
              </a:rPr>
              <a:t>사용률</a:t>
            </a:r>
            <a:r>
              <a:rPr lang="en-US" altLang="ko-KR">
                <a:latin typeface="맑은 고딕" pitchFamily="50" charset="-127"/>
                <a:ea typeface="맑은 고딕" pitchFamily="50" charset="-127"/>
              </a:rPr>
              <a:t>,</a:t>
            </a:r>
            <a:r>
              <a:rPr lang="ko-KR" altLang="en-US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>
                <a:latin typeface="맑은 고딕" pitchFamily="50" charset="-127"/>
                <a:ea typeface="맑은 고딕" pitchFamily="50" charset="-127"/>
              </a:rPr>
              <a:t>etc </a:t>
            </a:r>
            <a:endParaRPr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5949281"/>
            <a:ext cx="2880320" cy="43204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b="1">
                <a:latin typeface="맑은 고딕" pitchFamily="50" charset="-127"/>
                <a:ea typeface="맑은 고딕" pitchFamily="50" charset="-127"/>
              </a:rPr>
              <a:t> Infra Solution</a:t>
            </a:r>
            <a:r>
              <a:rPr lang="ko-KR" altLang="en-US" b="1">
                <a:latin typeface="맑은 고딕" pitchFamily="50" charset="-127"/>
                <a:ea typeface="맑은 고딕" pitchFamily="50" charset="-127"/>
              </a:rPr>
              <a:t>에 대한 정상 작업 점검</a:t>
            </a:r>
            <a:endParaRPr lang="en-US" altLang="ko-KR" b="1">
              <a:latin typeface="맑은 고딕" pitchFamily="50" charset="-127"/>
              <a:ea typeface="맑은 고딕" pitchFamily="50" charset="-127"/>
            </a:endParaRPr>
          </a:p>
          <a:p>
            <a:pPr>
              <a:spcBef>
                <a:spcPts val="300"/>
              </a:spcBef>
            </a:pPr>
            <a:r>
              <a:rPr lang="en-US" altLang="ko-KR">
                <a:latin typeface="맑은 고딕" pitchFamily="50" charset="-127"/>
                <a:ea typeface="맑은 고딕" pitchFamily="50" charset="-127"/>
              </a:rPr>
              <a:t> - </a:t>
            </a:r>
            <a:r>
              <a:rPr lang="en-US" altLang="ko-KR" smtClean="0">
                <a:latin typeface="맑은 고딕" pitchFamily="50" charset="-127"/>
                <a:ea typeface="맑은 고딕" pitchFamily="50" charset="-127"/>
              </a:rPr>
              <a:t>VDI, </a:t>
            </a:r>
            <a:r>
              <a:rPr lang="en-US" altLang="ko-KR">
                <a:latin typeface="맑은 고딕" pitchFamily="50" charset="-127"/>
                <a:ea typeface="맑은 고딕" pitchFamily="50" charset="-127"/>
              </a:rPr>
              <a:t>Weblogic, DBMS </a:t>
            </a:r>
            <a:r>
              <a:rPr lang="ko-KR" altLang="en-US">
                <a:latin typeface="맑은 고딕" pitchFamily="50" charset="-127"/>
                <a:ea typeface="맑은 고딕" pitchFamily="50" charset="-127"/>
              </a:rPr>
              <a:t>등의 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</a:rPr>
              <a:t>점검</a:t>
            </a:r>
            <a:endParaRPr lang="en-US" altLang="ko-KR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1" y="4798128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AS</a:t>
            </a:r>
            <a:r>
              <a:rPr kumimoji="0" lang="en-US" altLang="ko-KR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을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한 성능 임계치 점검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업무 수시 기능점검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 수행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6"/>
            <a:ext cx="2880320" cy="3092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 프로그램</a:t>
            </a:r>
            <a:r>
              <a:rPr kumimoji="0" lang="en-US" altLang="ko-KR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/F </a:t>
            </a:r>
            <a:r>
              <a:rPr kumimoji="0" lang="ko-KR" altLang="en-US" sz="1100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이상유무 점검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kern="0" noProof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SK C&amp;C</a:t>
            </a:r>
            <a:r>
              <a:rPr kumimoji="0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핵심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역</a:t>
            </a:r>
            <a:r>
              <a:rPr kumimoji="0" lang="en-US" altLang="ko-KR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Pjt.</a:t>
            </a:r>
            <a:r>
              <a:rPr kumimoji="0" lang="en-US" altLang="ko-KR" sz="1200" b="1" i="0" u="none" strike="noStrike" kern="0" cap="none" spc="0" normalizeH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관리</a:t>
            </a:r>
            <a:r>
              <a:rPr kumimoji="0" lang="en-US" altLang="ko-KR" sz="12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보 보안 </a:t>
            </a: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강화</a:t>
            </a:r>
            <a:r>
              <a:rPr kumimoji="0" lang="en-US" altLang="ko-KR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영업</a:t>
            </a:r>
            <a:r>
              <a:rPr kumimoji="0" lang="en-US" altLang="ko-KR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수행정보 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多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Pjt. </a:t>
            </a: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수행환경에 </a:t>
            </a:r>
            <a:r>
              <a:rPr kumimoji="0" lang="en-US" altLang="ko-KR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align</a:t>
            </a: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된</a:t>
            </a:r>
            <a:r>
              <a:rPr kumimoji="0" lang="en-US" altLang="ko-KR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무중단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처리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149080"/>
            <a:ext cx="2880320" cy="571591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경된 기능에 대한 이상 유무 점검</a:t>
            </a: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변경 배포 전</a:t>
            </a:r>
            <a:r>
              <a:rPr kumimoji="0" lang="en-US" altLang="ko-KR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후 </a:t>
            </a:r>
            <a:r>
              <a:rPr kumimoji="0" lang="en-US" altLang="ko-KR" sz="1100" ker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Test</a:t>
            </a: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 SK C&amp;C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의 사업관리시스템으로</a:t>
            </a:r>
            <a:r>
              <a:rPr lang="en-US" altLang="ko-KR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, SI/OS 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프로젝트를 수행하는데 필요한 영업관리</a:t>
            </a:r>
            <a:r>
              <a:rPr lang="en-US" altLang="ko-KR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수행관리</a:t>
            </a:r>
            <a:r>
              <a:rPr lang="en-US" altLang="ko-KR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자원관리 등의 업무 서비스를 제공함</a:t>
            </a:r>
            <a:endParaRPr lang="en-US" altLang="ko-KR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본사 및 각 프로젝트 </a:t>
            </a:r>
            <a:r>
              <a:rPr kumimoji="0" lang="en-US" altLang="ko-KR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ite</a:t>
            </a:r>
            <a:r>
              <a:rPr kumimoji="0" lang="ko-KR" altLang="en-US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서 </a:t>
            </a:r>
            <a:r>
              <a:rPr kumimoji="0" lang="en-US" altLang="ko-KR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PMO/</a:t>
            </a:r>
            <a:r>
              <a:rPr kumimoji="0" lang="ko-KR" altLang="en-US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부문기회팀</a:t>
            </a:r>
            <a:r>
              <a:rPr kumimoji="0" lang="en-US" altLang="ko-KR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매관련부서</a:t>
            </a:r>
            <a:r>
              <a:rPr kumimoji="0" lang="en-US" altLang="ko-KR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PM </a:t>
            </a:r>
            <a:r>
              <a:rPr kumimoji="0" lang="ko-KR" altLang="en-US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등 프로젝트 구성원이 사용하며 본사 임직원 전원에게 접속 권한이 부여되어 있음</a:t>
            </a:r>
            <a:endParaRPr kumimoji="0" lang="ko-KR" altLang="en-US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직사각형 59"/>
          <p:cNvSpPr/>
          <p:nvPr/>
        </p:nvSpPr>
        <p:spPr bwMode="auto">
          <a:xfrm>
            <a:off x="386238" y="2420888"/>
            <a:ext cx="5166748" cy="39604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2144707" y="4238431"/>
            <a:ext cx="1907068" cy="4063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IS </a:t>
            </a:r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en-US" altLang="ko-KR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3568917" y="5585480"/>
            <a:ext cx="687159" cy="363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원관리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8" name="꺾인 연결선 67"/>
          <p:cNvCxnSpPr>
            <a:stCxn id="82" idx="2"/>
            <a:endCxn id="62" idx="0"/>
          </p:cNvCxnSpPr>
          <p:nvPr/>
        </p:nvCxnSpPr>
        <p:spPr bwMode="auto">
          <a:xfrm rot="16200000" flipH="1">
            <a:off x="3181730" y="4854713"/>
            <a:ext cx="648110" cy="81342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69" name="직사각형 68"/>
          <p:cNvSpPr/>
          <p:nvPr/>
        </p:nvSpPr>
        <p:spPr bwMode="auto">
          <a:xfrm>
            <a:off x="913210" y="3740162"/>
            <a:ext cx="4471838" cy="264902"/>
          </a:xfrm>
          <a:prstGeom prst="rect">
            <a:avLst/>
          </a:prstGeom>
          <a:solidFill>
            <a:srgbClr val="CCCCFF"/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en-US" altLang="ko-KR" sz="11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0" name="TextBox 73"/>
          <p:cNvSpPr txBox="1">
            <a:spLocks noChangeArrowheads="1"/>
          </p:cNvSpPr>
          <p:nvPr/>
        </p:nvSpPr>
        <p:spPr bwMode="auto">
          <a:xfrm>
            <a:off x="2201252" y="3717032"/>
            <a:ext cx="1815644" cy="286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dirty="0" smtClean="0">
                <a:latin typeface="맑은 고딕" pitchFamily="50" charset="-127"/>
                <a:ea typeface="맑은 고딕" pitchFamily="50" charset="-127"/>
              </a:rPr>
              <a:t>SK-Net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1280592" y="2603098"/>
            <a:ext cx="1107088" cy="475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본사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장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2424187" y="2603098"/>
            <a:ext cx="1374317" cy="475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</a:t>
            </a:r>
            <a:r>
              <a:rPr lang="ko-KR" altLang="en-US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</a:t>
            </a:r>
            <a:r>
              <a:rPr lang="ko-KR" altLang="en-US" sz="1000" b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0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업</a:t>
            </a:r>
            <a:r>
              <a:rPr lang="ko-KR" altLang="en-US" sz="1000" b="1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장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3" name="직선 연결선 72"/>
          <p:cNvCxnSpPr/>
          <p:nvPr/>
        </p:nvCxnSpPr>
        <p:spPr bwMode="auto">
          <a:xfrm>
            <a:off x="3188385" y="3045637"/>
            <a:ext cx="0" cy="685578"/>
          </a:xfrm>
          <a:prstGeom prst="line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76" name="직선 연결선 75"/>
          <p:cNvCxnSpPr/>
          <p:nvPr/>
        </p:nvCxnSpPr>
        <p:spPr>
          <a:xfrm>
            <a:off x="878069" y="5402880"/>
            <a:ext cx="444449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직사각형 76"/>
          <p:cNvSpPr/>
          <p:nvPr/>
        </p:nvSpPr>
        <p:spPr bwMode="auto">
          <a:xfrm>
            <a:off x="2878159" y="5585480"/>
            <a:ext cx="687159" cy="363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</a:t>
            </a:r>
            <a:r>
              <a:rPr lang="ko-KR" altLang="en-US" sz="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행</a:t>
            </a:r>
            <a:r>
              <a:rPr lang="ko-KR" altLang="en-US" sz="80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2187401" y="5585480"/>
            <a:ext cx="687159" cy="3638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80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영업관리</a:t>
            </a:r>
            <a:endParaRPr lang="en-US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532305" y="2792910"/>
            <a:ext cx="267228" cy="1249659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네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트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워</a:t>
            </a:r>
            <a:endParaRPr lang="en-US" altLang="ko-KR" sz="9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9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크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532305" y="3949084"/>
            <a:ext cx="267228" cy="1130211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인프라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직사각형 81"/>
          <p:cNvSpPr/>
          <p:nvPr/>
        </p:nvSpPr>
        <p:spPr bwMode="auto">
          <a:xfrm>
            <a:off x="2144688" y="4589658"/>
            <a:ext cx="1908772" cy="3477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EB/ WAS/ DB </a:t>
            </a:r>
            <a:r>
              <a:rPr lang="ko-KR" altLang="en-US" sz="8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endParaRPr lang="en-US" altLang="ko-KR" sz="8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6" name="꺾인 연결선 135"/>
          <p:cNvCxnSpPr>
            <a:cxnSpLocks noChangeShapeType="1"/>
            <a:stCxn id="82" idx="2"/>
            <a:endCxn id="77" idx="0"/>
          </p:cNvCxnSpPr>
          <p:nvPr/>
        </p:nvCxnSpPr>
        <p:spPr bwMode="auto">
          <a:xfrm rot="16200000" flipH="1">
            <a:off x="2836351" y="5200092"/>
            <a:ext cx="648110" cy="12266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cxnSp>
        <p:nvCxnSpPr>
          <p:cNvPr id="87" name="꺾인 연결선 135"/>
          <p:cNvCxnSpPr>
            <a:cxnSpLocks noChangeShapeType="1"/>
            <a:stCxn id="82" idx="2"/>
            <a:endCxn id="78" idx="0"/>
          </p:cNvCxnSpPr>
          <p:nvPr/>
        </p:nvCxnSpPr>
        <p:spPr bwMode="auto">
          <a:xfrm rot="5400000">
            <a:off x="2490973" y="4977379"/>
            <a:ext cx="648110" cy="56809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round/>
            <a:headEnd type="triangle" w="med" len="med"/>
            <a:tailEnd type="triangle" w="med" len="med"/>
          </a:ln>
        </p:spPr>
      </p:cxnSp>
      <p:sp>
        <p:nvSpPr>
          <p:cNvPr id="88" name="직사각형 87"/>
          <p:cNvSpPr/>
          <p:nvPr/>
        </p:nvSpPr>
        <p:spPr>
          <a:xfrm>
            <a:off x="1376593" y="3167659"/>
            <a:ext cx="3856117" cy="520681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직사각형 88"/>
          <p:cNvSpPr/>
          <p:nvPr/>
        </p:nvSpPr>
        <p:spPr>
          <a:xfrm>
            <a:off x="1104267" y="4068614"/>
            <a:ext cx="4147533" cy="994783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직사각형 92"/>
          <p:cNvSpPr/>
          <p:nvPr/>
        </p:nvSpPr>
        <p:spPr bwMode="auto">
          <a:xfrm>
            <a:off x="3803471" y="2603098"/>
            <a:ext cx="1374317" cy="475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외 </a:t>
            </a:r>
            <a:r>
              <a:rPr lang="en-US" altLang="ko-KR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JT </a:t>
            </a:r>
            <a:r>
              <a:rPr lang="ko-KR" altLang="en-US" sz="10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수행장소</a:t>
            </a:r>
            <a:endParaRPr lang="en-US" altLang="ko-KR" sz="10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Box 73"/>
          <p:cNvSpPr txBox="1">
            <a:spLocks noChangeArrowheads="1"/>
          </p:cNvSpPr>
          <p:nvPr/>
        </p:nvSpPr>
        <p:spPr bwMode="auto">
          <a:xfrm>
            <a:off x="1712640" y="3195529"/>
            <a:ext cx="2825539" cy="184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 tIns="0" bIns="0" anchor="ctr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ko-KR" sz="1200" smtClean="0">
                <a:latin typeface="맑은 고딕" pitchFamily="50" charset="-127"/>
                <a:ea typeface="맑은 고딕" pitchFamily="50" charset="-127"/>
              </a:rPr>
              <a:t>VDI</a:t>
            </a:r>
            <a:endParaRPr lang="ko-KR" altLang="en-US" sz="1200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00" name="개체 9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02328298"/>
              </p:ext>
            </p:extLst>
          </p:nvPr>
        </p:nvGraphicFramePr>
        <p:xfrm>
          <a:off x="3054328" y="3477995"/>
          <a:ext cx="358259" cy="156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" name="Image" r:id="rId3" imgW="5295238" imgH="2526984" progId="">
                  <p:embed/>
                </p:oleObj>
              </mc:Choice>
              <mc:Fallback>
                <p:oleObj name="Image" r:id="rId3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54328" y="3477995"/>
                        <a:ext cx="358259" cy="1567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직사각형 109"/>
          <p:cNvSpPr/>
          <p:nvPr/>
        </p:nvSpPr>
        <p:spPr>
          <a:xfrm>
            <a:off x="1137055" y="5233435"/>
            <a:ext cx="4110359" cy="833076"/>
          </a:xfrm>
          <a:prstGeom prst="rect">
            <a:avLst/>
          </a:prstGeom>
          <a:noFill/>
          <a:ln w="63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3" name="직사각형 112"/>
          <p:cNvSpPr/>
          <p:nvPr/>
        </p:nvSpPr>
        <p:spPr>
          <a:xfrm>
            <a:off x="537568" y="5029204"/>
            <a:ext cx="267228" cy="1130211"/>
          </a:xfrm>
          <a:prstGeom prst="rect">
            <a:avLst/>
          </a:prstGeom>
          <a:solidFill>
            <a:schemeClr val="bg2">
              <a:lumMod val="90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PPL</a:t>
            </a:r>
            <a:endParaRPr lang="ko-KR" altLang="en-US" sz="9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43587"/>
              </p:ext>
            </p:extLst>
          </p:nvPr>
        </p:nvGraphicFramePr>
        <p:xfrm>
          <a:off x="5385050" y="1143661"/>
          <a:ext cx="4109216" cy="3705140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smtClean="0">
                          <a:latin typeface="맑은 고딕" pitchFamily="50" charset="-127"/>
                          <a:ea typeface="맑은 고딕" pitchFamily="50" charset="-127"/>
                        </a:rPr>
                        <a:t>영업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업기회 등록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ost 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적정성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Risk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검토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주예상 프로젝트 조회 기능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주협 프로세스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약정보 및 빌링정보 등록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비용총액 요청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승인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smtClean="0">
                          <a:latin typeface="맑은 고딕" pitchFamily="50" charset="-127"/>
                          <a:ea typeface="맑은 고딕" pitchFamily="50" charset="-127"/>
                        </a:rPr>
                        <a:t>수행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젝트 등록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검색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행예산 수립 및 기안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젝트 수행비용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비용 조회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젝트 종료 선언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95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smtClean="0">
                          <a:latin typeface="맑은 고딕" pitchFamily="50" charset="-127"/>
                          <a:ea typeface="맑은 고딕" pitchFamily="50" charset="-127"/>
                        </a:rPr>
                        <a:t>자원관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력계획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상품계획 등록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력별 실적 조회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요예측 예상 프로젝트 관리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요예측 모수관리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요예측 </a:t>
                      </a:r>
                      <a:r>
                        <a:rPr lang="en-US" altLang="ko-KR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imulation</a:t>
                      </a: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요예측 내부자원 검색</a:t>
                      </a:r>
                      <a:endParaRPr lang="en-US" altLang="ko-KR" sz="100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268264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S (</a:t>
                      </a:r>
                      <a:r>
                        <a:rPr lang="ko-KR" altLang="en-US" sz="1200" b="1" baseline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업관리</a:t>
                      </a:r>
                      <a:r>
                        <a:rPr lang="en-US" altLang="ko-KR" sz="1200" b="1" baseline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smtClean="0">
                          <a:latin typeface="맑은 고딕" pitchFamily="50" charset="-127"/>
                          <a:ea typeface="맑은 고딕" pitchFamily="50" charset="-127"/>
                        </a:rPr>
                        <a:t>’14.07</a:t>
                      </a:r>
                      <a:r>
                        <a:rPr lang="ko-KR" altLang="en-US" sz="1000" smtClean="0"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smtClean="0">
                          <a:latin typeface="맑은 고딕" pitchFamily="50" charset="-127"/>
                          <a:ea typeface="맑은 고딕" pitchFamily="50" charset="-127"/>
                        </a:rPr>
                        <a:t>통신솔루션영업팀 결재선 분화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주인력 </a:t>
                      </a: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 </a:t>
                      </a:r>
                      <a:r>
                        <a:rPr lang="ko-KR" altLang="en-US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급 기능 추가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  <a:endParaRPr lang="en-US" altLang="ko-KR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inux</a:t>
                      </a:r>
                      <a:r>
                        <a:rPr lang="en-US" altLang="ko-KR" sz="1000" b="0" baseline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Enterprise</a:t>
                      </a: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ava </a:t>
                      </a: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JDK 1.6,</a:t>
                      </a:r>
                      <a:r>
                        <a:rPr lang="en-US" altLang="ko-KR" sz="1000" b="0" baseline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FLEX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MO</a:t>
                      </a:r>
                      <a:r>
                        <a:rPr lang="ko-KR" altLang="en-US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</a:t>
                      </a: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역량혁신팀</a:t>
                      </a:r>
                      <a:r>
                        <a:rPr lang="en-US" altLang="ko-KR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IT</a:t>
                      </a:r>
                      <a:r>
                        <a:rPr lang="ko-KR" altLang="en-US" sz="1000" b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팀</a:t>
                      </a:r>
                      <a:endParaRPr lang="ko-KR" altLang="en-US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smtClean="0">
                          <a:latin typeface="맑은 고딕" pitchFamily="50" charset="-127"/>
                          <a:ea typeface="맑은 고딕" pitchFamily="50" charset="-127"/>
                        </a:rPr>
                        <a:t>프로젝트 </a:t>
                      </a:r>
                      <a:r>
                        <a:rPr lang="en-US" altLang="ko-KR" sz="1000" smtClean="0">
                          <a:latin typeface="맑은 고딕" pitchFamily="50" charset="-127"/>
                          <a:ea typeface="맑은 고딕" pitchFamily="50" charset="-127"/>
                        </a:rPr>
                        <a:t>PM, </a:t>
                      </a:r>
                      <a:r>
                        <a:rPr lang="ko-KR" altLang="en-US" sz="1000" smtClean="0">
                          <a:latin typeface="맑은 고딕" pitchFamily="50" charset="-127"/>
                          <a:ea typeface="맑은 고딕" pitchFamily="50" charset="-127"/>
                        </a:rPr>
                        <a:t>사업관리자</a:t>
                      </a:r>
                      <a:r>
                        <a:rPr lang="en-US" altLang="ko-KR" sz="100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smtClean="0"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r>
                        <a:rPr lang="en-US" altLang="ko-KR" sz="100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smtClean="0">
                          <a:latin typeface="맑은 고딕" pitchFamily="50" charset="-127"/>
                          <a:ea typeface="맑은 고딕" pitchFamily="50" charset="-127"/>
                        </a:rPr>
                        <a:t>구매팀</a:t>
                      </a:r>
                      <a:endParaRPr lang="ko-KR" altLang="en-US" sz="100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162274"/>
              </p:ext>
            </p:extLst>
          </p:nvPr>
        </p:nvGraphicFramePr>
        <p:xfrm>
          <a:off x="390518" y="4325092"/>
          <a:ext cx="4850514" cy="2279898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박정석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2429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한경용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117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MO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인태 대리</a:t>
                      </a:r>
                      <a:endParaRPr kumimoji="1" lang="en-US" altLang="ko-KR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수진 사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5561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526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fra </a:t>
                      </a: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총괄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대인 대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394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윤문봉 주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0595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선양분공사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향희 사원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0340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선양분공사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599749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pic>
        <p:nvPicPr>
          <p:cNvPr id="144" name="Picture 2" descr="\\203.235.223.110\epm 개선\MIS\main_processImag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61" y="980728"/>
            <a:ext cx="8651349" cy="165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3" descr="\\203.235.223.110\epm 개선\MIS\main_popupProcess0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06" y="2996952"/>
            <a:ext cx="8228551" cy="3061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158994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582980" y="836712"/>
            <a:ext cx="5508000" cy="33481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500" b="1" smtClean="0">
                <a:latin typeface="맑은 고딕" pitchFamily="50" charset="-127"/>
                <a:ea typeface="맑은 고딕" pitchFamily="50" charset="-127"/>
              </a:rPr>
              <a:t>외부 시스템 </a:t>
            </a:r>
            <a:r>
              <a:rPr kumimoji="0" lang="en-US" altLang="ko-KR" sz="1500" b="1" smtClean="0">
                <a:latin typeface="맑은 고딕" pitchFamily="50" charset="-127"/>
                <a:ea typeface="맑은 고딕" pitchFamily="50" charset="-127"/>
              </a:rPr>
              <a:t>I/F </a:t>
            </a:r>
            <a:r>
              <a:rPr kumimoji="0" lang="ko-KR" altLang="en-US" sz="1500" b="1" smtClean="0">
                <a:latin typeface="맑은 고딕" pitchFamily="50" charset="-127"/>
                <a:ea typeface="맑은 고딕" pitchFamily="50" charset="-127"/>
              </a:rPr>
              <a:t>없음</a:t>
            </a:r>
            <a:r>
              <a:rPr kumimoji="0" lang="en-US" altLang="ko-KR" sz="1500" b="1" smtClean="0">
                <a:latin typeface="맑은 고딕" pitchFamily="50" charset="-127"/>
                <a:ea typeface="맑은 고딕" pitchFamily="50" charset="-127"/>
              </a:rPr>
              <a:t>.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aphicFrame>
        <p:nvGraphicFramePr>
          <p:cNvPr id="82" name="표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891155"/>
              </p:ext>
            </p:extLst>
          </p:nvPr>
        </p:nvGraphicFramePr>
        <p:xfrm>
          <a:off x="4017267" y="2924175"/>
          <a:ext cx="2330450" cy="1044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0450"/>
              </a:tblGrid>
              <a:tr h="104457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IS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49" marR="91449" marT="45716" marB="45716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292451"/>
              </p:ext>
            </p:extLst>
          </p:nvPr>
        </p:nvGraphicFramePr>
        <p:xfrm>
          <a:off x="7617717" y="4868863"/>
          <a:ext cx="1655763" cy="1249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763"/>
              </a:tblGrid>
              <a:tr h="2437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17" marR="91417" marT="45696" marB="45696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00560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IS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xpense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MS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yService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OMS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yCareer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17" marR="91417" marT="45696" marB="45696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5385692" y="4775200"/>
            <a:ext cx="1924050" cy="4770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계방식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 Link </a:t>
            </a:r>
          </a:p>
        </p:txBody>
      </p:sp>
      <p:graphicFrame>
        <p:nvGraphicFramePr>
          <p:cNvPr id="86" name="표 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900801"/>
              </p:ext>
            </p:extLst>
          </p:nvPr>
        </p:nvGraphicFramePr>
        <p:xfrm>
          <a:off x="7617717" y="1606550"/>
          <a:ext cx="1525588" cy="820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5588"/>
              </a:tblGrid>
              <a:tr h="24400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33" marR="91433" marT="45751" marB="45751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73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RP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33" marR="91433" marT="45751" marB="45751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7" name="표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889676"/>
              </p:ext>
            </p:extLst>
          </p:nvPr>
        </p:nvGraphicFramePr>
        <p:xfrm>
          <a:off x="1066105" y="1557338"/>
          <a:ext cx="1525587" cy="866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5587"/>
              </a:tblGrid>
              <a:tr h="28009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32" marR="91432" marT="45761" marB="45761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86677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i-SK</a:t>
                      </a:r>
                    </a:p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DMS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32" marR="91432" marT="45761" marB="45761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표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682804"/>
              </p:ext>
            </p:extLst>
          </p:nvPr>
        </p:nvGraphicFramePr>
        <p:xfrm>
          <a:off x="924817" y="4411663"/>
          <a:ext cx="1525588" cy="1096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5588"/>
              </a:tblGrid>
              <a:tr h="24380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 시스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33" marR="91433" marT="45705" marB="4570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531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R</a:t>
                      </a: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-Procurement</a:t>
                      </a:r>
                    </a:p>
                  </a:txBody>
                  <a:tcPr marL="91433" marR="91433" marT="45705" marB="4570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1" name="TextBox 90"/>
          <p:cNvSpPr txBox="1"/>
          <p:nvPr/>
        </p:nvSpPr>
        <p:spPr>
          <a:xfrm>
            <a:off x="6457255" y="2952750"/>
            <a:ext cx="1924050" cy="4770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계방식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FC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925067" y="1384300"/>
            <a:ext cx="1924050" cy="8156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계방식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Web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ervice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 Link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URL Link (Hi-SK</a:t>
            </a:r>
            <a:r>
              <a:rPr kumimoji="0"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만</a:t>
            </a: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785242" y="3490913"/>
            <a:ext cx="192405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연계방식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B Link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URL Link </a:t>
            </a:r>
          </a:p>
        </p:txBody>
      </p:sp>
      <p:graphicFrame>
        <p:nvGraphicFramePr>
          <p:cNvPr id="95" name="표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9861631"/>
              </p:ext>
            </p:extLst>
          </p:nvPr>
        </p:nvGraphicFramePr>
        <p:xfrm>
          <a:off x="3369567" y="5084763"/>
          <a:ext cx="1295400" cy="720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</a:tblGrid>
              <a:tr h="72072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M 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회용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M (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회용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388" marR="91388" marT="45761" marB="45761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4" name="꺾인 연결선 3"/>
          <p:cNvCxnSpPr>
            <a:stCxn id="86" idx="2"/>
            <a:endCxn id="82" idx="3"/>
          </p:cNvCxnSpPr>
          <p:nvPr/>
        </p:nvCxnSpPr>
        <p:spPr bwMode="auto">
          <a:xfrm rot="5400000">
            <a:off x="6854527" y="1920478"/>
            <a:ext cx="1019174" cy="2032794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dash"/>
            <a:headEnd type="arrow"/>
            <a:tailEnd type="arrow"/>
          </a:ln>
          <a:effectLst/>
        </p:spPr>
      </p:cxnSp>
      <p:cxnSp>
        <p:nvCxnSpPr>
          <p:cNvPr id="12" name="꺾인 연결선 11"/>
          <p:cNvCxnSpPr/>
          <p:nvPr/>
        </p:nvCxnSpPr>
        <p:spPr bwMode="auto">
          <a:xfrm rot="10800000" flipV="1">
            <a:off x="6347719" y="2427287"/>
            <a:ext cx="2299146" cy="1145727"/>
          </a:xfrm>
          <a:prstGeom prst="bentConnector3">
            <a:avLst>
              <a:gd name="adj1" fmla="val 849"/>
            </a:avLst>
          </a:prstGeom>
          <a:noFill/>
          <a:ln w="19050" cap="flat" cmpd="sng" algn="ctr">
            <a:solidFill>
              <a:schemeClr val="tx1"/>
            </a:solidFill>
            <a:prstDash val="solid"/>
            <a:headEnd type="none" w="med" len="med"/>
            <a:tailEnd type="arrow"/>
          </a:ln>
          <a:effectLst/>
        </p:spPr>
      </p:cxnSp>
      <p:cxnSp>
        <p:nvCxnSpPr>
          <p:cNvPr id="115" name="꺾인 연결선 114"/>
          <p:cNvCxnSpPr>
            <a:stCxn id="89" idx="0"/>
            <a:endCxn id="82" idx="1"/>
          </p:cNvCxnSpPr>
          <p:nvPr/>
        </p:nvCxnSpPr>
        <p:spPr bwMode="auto">
          <a:xfrm rot="5400000" flipH="1" flipV="1">
            <a:off x="2369839" y="2764235"/>
            <a:ext cx="965201" cy="2329656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dash"/>
            <a:headEnd type="arrow"/>
            <a:tailEnd type="arrow"/>
          </a:ln>
          <a:effectLst/>
        </p:spPr>
      </p:cxnSp>
      <p:cxnSp>
        <p:nvCxnSpPr>
          <p:cNvPr id="23" name="꺾인 연결선 22"/>
          <p:cNvCxnSpPr/>
          <p:nvPr/>
        </p:nvCxnSpPr>
        <p:spPr bwMode="auto">
          <a:xfrm rot="10800000" flipV="1">
            <a:off x="1352601" y="3191277"/>
            <a:ext cx="2664667" cy="1220386"/>
          </a:xfrm>
          <a:prstGeom prst="bentConnector3">
            <a:avLst>
              <a:gd name="adj1" fmla="val 100179"/>
            </a:avLst>
          </a:prstGeom>
          <a:noFill/>
          <a:ln w="19050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22" name="꺾인 연결선 121"/>
          <p:cNvCxnSpPr>
            <a:stCxn id="87" idx="3"/>
            <a:endCxn id="82" idx="0"/>
          </p:cNvCxnSpPr>
          <p:nvPr/>
        </p:nvCxnSpPr>
        <p:spPr bwMode="auto">
          <a:xfrm>
            <a:off x="2591692" y="1990725"/>
            <a:ext cx="2590800" cy="933450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25" name="꺾인 연결선 124"/>
          <p:cNvCxnSpPr>
            <a:stCxn id="82" idx="2"/>
            <a:endCxn id="83" idx="1"/>
          </p:cNvCxnSpPr>
          <p:nvPr/>
        </p:nvCxnSpPr>
        <p:spPr bwMode="auto">
          <a:xfrm rot="16200000" flipH="1">
            <a:off x="5637652" y="3513589"/>
            <a:ext cx="1524905" cy="2435225"/>
          </a:xfrm>
          <a:prstGeom prst="bentConnector2">
            <a:avLst/>
          </a:prstGeom>
          <a:noFill/>
          <a:ln w="19050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175613"/>
            <a:ext cx="4713985" cy="2469412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8" y="3861048"/>
            <a:ext cx="2173890" cy="216024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3357520"/>
            <a:ext cx="2979231" cy="2663767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02458" y="3457600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052736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377648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695533"/>
              </p:ext>
            </p:extLst>
          </p:nvPr>
        </p:nvGraphicFramePr>
        <p:xfrm>
          <a:off x="1352128" y="1772816"/>
          <a:ext cx="1944688" cy="1584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31"/>
                <a:gridCol w="1008357"/>
              </a:tblGrid>
              <a:tr h="3960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web1</a:t>
                      </a: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WAS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54843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INUX Enterprise Server 5.3</a:t>
                      </a:r>
                      <a:endParaRPr lang="ko-KR" altLang="en-US" sz="10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608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85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37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탑재 솔루션 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026200"/>
              </p:ext>
            </p:extLst>
          </p:nvPr>
        </p:nvGraphicFramePr>
        <p:xfrm>
          <a:off x="3656856" y="1772816"/>
          <a:ext cx="1944688" cy="1584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31"/>
                <a:gridCol w="1008357"/>
              </a:tblGrid>
              <a:tr h="3960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web2</a:t>
                      </a: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WAS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54843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INUX Enterprise Server 5.3</a:t>
                      </a:r>
                      <a:endParaRPr lang="ko-KR" altLang="en-US" sz="1000" kern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608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86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37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탑재 솔루션 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31" name="표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850976"/>
              </p:ext>
            </p:extLst>
          </p:nvPr>
        </p:nvGraphicFramePr>
        <p:xfrm>
          <a:off x="1208584" y="4293096"/>
          <a:ext cx="1944687" cy="1584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31"/>
                <a:gridCol w="1008356"/>
              </a:tblGrid>
              <a:tr h="3960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db1</a:t>
                      </a:r>
                    </a:p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DB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54843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NUX Enterprise Server 5.3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8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87:1525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37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탑재 솔루션 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 11g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2" name="직사각형 31"/>
          <p:cNvSpPr/>
          <p:nvPr/>
        </p:nvSpPr>
        <p:spPr bwMode="auto">
          <a:xfrm>
            <a:off x="3656856" y="3861048"/>
            <a:ext cx="2179510" cy="2172796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3" name="Rectangle 51"/>
          <p:cNvSpPr>
            <a:spLocks noChangeArrowheads="1"/>
          </p:cNvSpPr>
          <p:nvPr/>
        </p:nvSpPr>
        <p:spPr bwMode="auto">
          <a:xfrm>
            <a:off x="3342277" y="378904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atch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5" name="표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891398"/>
              </p:ext>
            </p:extLst>
          </p:nvPr>
        </p:nvGraphicFramePr>
        <p:xfrm>
          <a:off x="3802856" y="4221088"/>
          <a:ext cx="1944687" cy="1737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31"/>
                <a:gridCol w="1008356"/>
              </a:tblGrid>
              <a:tr h="39609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bat1</a:t>
                      </a: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Batch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er </a:t>
                      </a: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548449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NUX Enterprise Server 5.3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92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88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탑재 솔루션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excore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Batch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6" name="직사각형 35"/>
          <p:cNvSpPr/>
          <p:nvPr/>
        </p:nvSpPr>
        <p:spPr bwMode="auto">
          <a:xfrm>
            <a:off x="6085858" y="1196752"/>
            <a:ext cx="2971598" cy="2016224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graphicFrame>
        <p:nvGraphicFramePr>
          <p:cNvPr id="41" name="표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290797"/>
              </p:ext>
            </p:extLst>
          </p:nvPr>
        </p:nvGraphicFramePr>
        <p:xfrm>
          <a:off x="6609184" y="1412512"/>
          <a:ext cx="1944687" cy="1584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331"/>
                <a:gridCol w="1008356"/>
              </a:tblGrid>
              <a:tr h="3960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dmspap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 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548434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NUX Enterprise Server 5.3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8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09.118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37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탑재 솔루션 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ocumentum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7" name="Rectangle 51"/>
          <p:cNvSpPr>
            <a:spLocks noChangeArrowheads="1"/>
          </p:cNvSpPr>
          <p:nvPr/>
        </p:nvSpPr>
        <p:spPr bwMode="auto">
          <a:xfrm>
            <a:off x="5889104" y="1052736"/>
            <a:ext cx="1008112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ocumentum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666000"/>
              </p:ext>
            </p:extLst>
          </p:nvPr>
        </p:nvGraphicFramePr>
        <p:xfrm>
          <a:off x="6147821" y="3645025"/>
          <a:ext cx="1423835" cy="10836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5551"/>
                <a:gridCol w="738284"/>
              </a:tblGrid>
              <a:tr h="257428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dall1</a:t>
                      </a:r>
                    </a:p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WAS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43258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NUX Enterprise Server 5.3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846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63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8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탑재 솔루션 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123799"/>
              </p:ext>
            </p:extLst>
          </p:nvPr>
        </p:nvGraphicFramePr>
        <p:xfrm>
          <a:off x="7617297" y="3649426"/>
          <a:ext cx="1368152" cy="1104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8740"/>
                <a:gridCol w="709412"/>
              </a:tblGrid>
              <a:tr h="26981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dall1</a:t>
                      </a:r>
                    </a:p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DB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73594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S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NUX Enterprise Server 5.3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9811"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63:1525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60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탑재 솔루션 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 11g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820494"/>
              </p:ext>
            </p:extLst>
          </p:nvPr>
        </p:nvGraphicFramePr>
        <p:xfrm>
          <a:off x="6156524" y="4788421"/>
          <a:ext cx="1460772" cy="12328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335"/>
                <a:gridCol w="757437"/>
              </a:tblGrid>
              <a:tr h="281178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bat1</a:t>
                      </a:r>
                    </a:p>
                    <a:p>
                      <a:pPr algn="ctr"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Batch 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er </a:t>
                      </a: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89333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INUX Enterprise Server 5.3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117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7.188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11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탑재 솔루션 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excore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Batch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9" marB="45689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7" name="표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9825069"/>
              </p:ext>
            </p:extLst>
          </p:nvPr>
        </p:nvGraphicFramePr>
        <p:xfrm>
          <a:off x="7689304" y="4810075"/>
          <a:ext cx="1296145" cy="1154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4070"/>
                <a:gridCol w="672075"/>
              </a:tblGrid>
              <a:tr h="28703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MITS</a:t>
                      </a:r>
                    </a:p>
                    <a:p>
                      <a:pPr latinLnBrk="1"/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용도 </a:t>
                      </a:r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  </a:t>
                      </a:r>
                      <a:r>
                        <a:rPr lang="en-US" altLang="ko-KR" sz="6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er </a:t>
                      </a: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</a:tr>
              <a:tr h="39743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de-DE" altLang="ko-KR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ed Hat Enterprise Linux ES 5.0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7031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P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60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3.235.210.94</a:t>
                      </a:r>
                      <a:endParaRPr lang="ko-KR" altLang="en-US" sz="6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6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6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탑재 솔루션 </a:t>
                      </a:r>
                      <a:endParaRPr lang="ko-KR" altLang="en-US" sz="6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6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ocumentum</a:t>
                      </a:r>
                      <a:endParaRPr lang="ko-KR" altLang="en-US" sz="6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62" marR="91462" marT="45688" marB="45688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2997953"/>
              </p:ext>
            </p:extLst>
          </p:nvPr>
        </p:nvGraphicFramePr>
        <p:xfrm>
          <a:off x="416496" y="835915"/>
          <a:ext cx="9073580" cy="3705326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cc-miapweb1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boss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1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9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web2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9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db1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1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atch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cc-miapbat1</a:t>
                      </a:r>
                      <a:endParaRPr lang="en-US" altLang="ko-KR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xcore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batch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c-miadall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1g</a:t>
                      </a:r>
                      <a:endParaRPr lang="en-US" altLang="ko-KR" sz="900" b="0" i="0" u="none" strike="noStrike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boss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5.1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udson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atch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cc-miapbat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xcore</a:t>
                      </a:r>
                      <a:r>
                        <a:rPr lang="en-US" altLang="ko-KR" sz="9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batch</a:t>
                      </a:r>
                      <a:endParaRPr lang="en-US" altLang="ko-KR" sz="900" b="0" i="0" u="none" strike="noStrike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857</TotalTime>
  <Pages>39</Pages>
  <Words>860</Words>
  <Application>Microsoft Office PowerPoint</Application>
  <PresentationFormat>A4 용지(210x297mm)</PresentationFormat>
  <Paragraphs>381</Paragraphs>
  <Slides>11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3" baseType="lpstr">
      <vt:lpstr>1_other</vt:lpstr>
      <vt:lpstr>Image</vt:lpstr>
      <vt:lpstr>Architecture 설계서 -  SK C&amp;C MIS(사업관리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Windows 사용자</cp:lastModifiedBy>
  <cp:revision>2521</cp:revision>
  <cp:lastPrinted>2015-03-23T02:26:06Z</cp:lastPrinted>
  <dcterms:created xsi:type="dcterms:W3CDTF">1996-10-14T12:11:22Z</dcterms:created>
  <dcterms:modified xsi:type="dcterms:W3CDTF">2015-04-02T06:37:34Z</dcterms:modified>
</cp:coreProperties>
</file>